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11" r:id="rId2"/>
    <p:sldId id="415" r:id="rId3"/>
    <p:sldId id="380" r:id="rId4"/>
    <p:sldId id="405" r:id="rId5"/>
    <p:sldId id="406" r:id="rId6"/>
    <p:sldId id="416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7"/>
    <p:restoredTop sz="94243"/>
  </p:normalViewPr>
  <p:slideViewPr>
    <p:cSldViewPr snapToGrid="0">
      <p:cViewPr varScale="1">
        <p:scale>
          <a:sx n="103" d="100"/>
          <a:sy n="103" d="100"/>
        </p:scale>
        <p:origin x="712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04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496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127627"/>
            <a:ext cx="11038772" cy="1107996"/>
          </a:xfrm>
        </p:spPr>
        <p:txBody>
          <a:bodyPr/>
          <a:lstStyle/>
          <a:p>
            <a:r>
              <a:rPr lang="en-US" sz="3600" dirty="0" err="1"/>
              <a:t>NorCPMX</a:t>
            </a:r>
            <a:r>
              <a:rPr lang="en-US" sz="3600" dirty="0"/>
              <a:t> – A development and user-friendly code structure for the Norwegian Climate Prediction Model</a:t>
            </a:r>
            <a:endParaRPr lang="nb-NO" sz="36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19 August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32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and input data spread over many locations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 err="1">
                <a:solidFill>
                  <a:schemeClr val="tx1"/>
                </a:solidFill>
              </a:rPr>
              <a:t>github.com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BjerknesCPU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NorCPM.git</a:t>
            </a:r>
            <a:r>
              <a:rPr lang="en-NO" sz="1400" i="1" dirty="0">
                <a:solidFill>
                  <a:schemeClr val="tx1"/>
                </a:solidFill>
              </a:rPr>
              <a:t> </a:t>
            </a:r>
            <a:r>
              <a:rPr lang="en-NO" sz="1400" dirty="0">
                <a:solidFill>
                  <a:schemeClr val="tx1"/>
                </a:solidFill>
              </a:rPr>
              <a:t>(NorESM code, scripts for setting up simulations ensembl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inputdata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NorESM input dat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Input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settings)</a:t>
            </a:r>
            <a:endParaRPr lang="en-NO" sz="14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es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bin </a:t>
            </a:r>
            <a:r>
              <a:rPr lang="en-GB" sz="1400" dirty="0">
                <a:solidFill>
                  <a:schemeClr val="tx1"/>
                </a:solidFill>
                <a:effectLst/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assimilation executables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Code </a:t>
            </a:r>
            <a:r>
              <a:rPr lang="en-GB" sz="1400" dirty="0">
                <a:solidFill>
                  <a:schemeClr val="tx1"/>
                </a:solidFill>
                <a:effectLst/>
              </a:rPr>
              <a:t>(assimilation </a:t>
            </a:r>
            <a:r>
              <a:rPr lang="en-GB" sz="1400" dirty="0">
                <a:solidFill>
                  <a:schemeClr val="tx1"/>
                </a:solidFill>
              </a:rPr>
              <a:t>source cod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Obs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observations)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Many variants of assimilation code locally on Betzy</a:t>
            </a: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imited technical documentation (some info on </a:t>
            </a:r>
            <a:r>
              <a:rPr lang="en-GB" sz="2000" dirty="0" err="1">
                <a:solidFill>
                  <a:schemeClr val="tx1"/>
                </a:solidFill>
              </a:rPr>
              <a:t>wiki.uib.no</a:t>
            </a:r>
            <a:r>
              <a:rPr lang="en-GB" sz="2000" dirty="0">
                <a:solidFill>
                  <a:schemeClr val="tx1"/>
                </a:solidFill>
              </a:rPr>
              <a:t>/</a:t>
            </a: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)</a:t>
            </a:r>
            <a:r>
              <a:rPr lang="en-NO" sz="2000" dirty="0">
                <a:solidFill>
                  <a:schemeClr val="tx1"/>
                </a:solidFill>
              </a:rPr>
              <a:t>, no version control via git</a:t>
            </a:r>
            <a:endParaRPr lang="en-NO" sz="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500" dirty="0">
                <a:solidFill>
                  <a:schemeClr val="tx1"/>
                </a:solidFill>
              </a:rPr>
              <a:t> </a:t>
            </a: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ack of strategy/best-practice/governance for collaborative NorCPM development</a:t>
            </a:r>
            <a:endParaRPr lang="en-NO" sz="8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 user-guide, test suits, examples 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D46A87F3-1691-DFC6-F3DB-028FE9720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3595159"/>
            <a:ext cx="8214360" cy="1607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en-NO" sz="2200" dirty="0"/>
              <a:t>NorCPM class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4661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X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X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NorCPMX  </a:t>
            </a:r>
            <a:r>
              <a:rPr lang="en-US" sz="2200" dirty="0"/>
              <a:t>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ll integration with </a:t>
            </a:r>
            <a:r>
              <a:rPr lang="en-GB" dirty="0" err="1"/>
              <a:t>NorESM</a:t>
            </a:r>
            <a:r>
              <a:rPr lang="en-GB" dirty="0"/>
              <a:t>; structure suitable for use with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X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1107996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s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semble</a:t>
            </a: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608909" y="4231750"/>
            <a:ext cx="99257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636604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72265" y="3057745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X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ensemble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X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ensemble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284</TotalTime>
  <Words>805</Words>
  <Application>Microsoft Macintosh PowerPoint</Application>
  <PresentationFormat>Widescreen</PresentationFormat>
  <Paragraphs>14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Menlo</vt:lpstr>
      <vt:lpstr>Wingdings</vt:lpstr>
      <vt:lpstr>blank</vt:lpstr>
      <vt:lpstr>think-cell Slide</vt:lpstr>
      <vt:lpstr>NorCPMX – A development and user-friendly code structure for the Norwegian Climate Prediction Model</vt:lpstr>
      <vt:lpstr>NorCPM classic</vt:lpstr>
      <vt:lpstr>NorCPMX   </vt:lpstr>
      <vt:lpstr>NorCPMX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8</cp:revision>
  <dcterms:created xsi:type="dcterms:W3CDTF">2019-06-05T13:39:33Z</dcterms:created>
  <dcterms:modified xsi:type="dcterms:W3CDTF">2024-09-04T09:55:02Z</dcterms:modified>
  <cp:category/>
</cp:coreProperties>
</file>